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3"/>
  </p:notesMasterIdLst>
  <p:sldIdLst>
    <p:sldId id="256" r:id="rId2"/>
    <p:sldId id="267" r:id="rId3"/>
    <p:sldId id="269" r:id="rId4"/>
    <p:sldId id="270" r:id="rId5"/>
    <p:sldId id="271" r:id="rId6"/>
    <p:sldId id="272" r:id="rId7"/>
    <p:sldId id="273" r:id="rId8"/>
    <p:sldId id="276" r:id="rId9"/>
    <p:sldId id="277" r:id="rId10"/>
    <p:sldId id="274" r:id="rId11"/>
    <p:sldId id="268" r:id="rId12"/>
  </p:sldIdLst>
  <p:sldSz cx="6858000" cy="5143500"/>
  <p:notesSz cx="6858000" cy="9144000"/>
  <p:custDataLst>
    <p:tags r:id="rId14"/>
  </p:custDataLst>
  <p:defaultTextStyle>
    <a:defPPr>
      <a:defRPr lang="ru-RU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4914" autoAdjust="0"/>
    <p:restoredTop sz="94717" autoAdjust="0"/>
  </p:normalViewPr>
  <p:slideViewPr>
    <p:cSldViewPr snapToObjects="1" showGuides="1">
      <p:cViewPr>
        <p:scale>
          <a:sx n="130" d="100"/>
          <a:sy n="130" d="100"/>
        </p:scale>
        <p:origin x="-1386" y="-222"/>
      </p:cViewPr>
      <p:guideLst>
        <p:guide orient="horz" pos="162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215C48-22DD-4C93-8619-3BAA0667659D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99949-2A24-4B06-912D-9BBBA2D69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9471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51088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58137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74996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707477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125197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007008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774073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697190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29863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4350" y="1597821"/>
            <a:ext cx="58293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28700" y="2914650"/>
            <a:ext cx="48006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28051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819812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3729037" y="154781"/>
            <a:ext cx="1157288" cy="32908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57175" y="154781"/>
            <a:ext cx="3357563" cy="32908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575401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76471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1735" y="3305176"/>
            <a:ext cx="58293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41735" y="2180035"/>
            <a:ext cx="58293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835243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7176" y="900114"/>
            <a:ext cx="2257425" cy="254555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2628902" y="900114"/>
            <a:ext cx="2257425" cy="254555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622698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205978"/>
            <a:ext cx="61722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2" y="1151335"/>
            <a:ext cx="3030141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40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2902" y="1631156"/>
            <a:ext cx="3030141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83771" y="1151335"/>
            <a:ext cx="3031331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40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83771" y="1631156"/>
            <a:ext cx="3031331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95323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26118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6553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2" y="204787"/>
            <a:ext cx="2256235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81289" y="204790"/>
            <a:ext cx="3833813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42902" y="1076328"/>
            <a:ext cx="2256235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84" indent="0">
              <a:buNone/>
              <a:defRPr sz="900"/>
            </a:lvl2pPr>
            <a:lvl3pPr marL="685766" indent="0">
              <a:buNone/>
              <a:defRPr sz="800"/>
            </a:lvl3pPr>
            <a:lvl4pPr marL="1028649" indent="0">
              <a:buNone/>
              <a:defRPr sz="700"/>
            </a:lvl4pPr>
            <a:lvl5pPr marL="1371532" indent="0">
              <a:buNone/>
              <a:defRPr sz="700"/>
            </a:lvl5pPr>
            <a:lvl6pPr marL="1714415" indent="0">
              <a:buNone/>
              <a:defRPr sz="700"/>
            </a:lvl6pPr>
            <a:lvl7pPr marL="2057297" indent="0">
              <a:buNone/>
              <a:defRPr sz="700"/>
            </a:lvl7pPr>
            <a:lvl8pPr marL="2400180" indent="0">
              <a:buNone/>
              <a:defRPr sz="700"/>
            </a:lvl8pPr>
            <a:lvl9pPr marL="2743064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46132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4216" y="3600451"/>
            <a:ext cx="41148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344216" y="459581"/>
            <a:ext cx="41148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84" indent="0">
              <a:buNone/>
              <a:defRPr sz="2100"/>
            </a:lvl2pPr>
            <a:lvl3pPr marL="685766" indent="0">
              <a:buNone/>
              <a:defRPr sz="1800"/>
            </a:lvl3pPr>
            <a:lvl4pPr marL="1028649" indent="0">
              <a:buNone/>
              <a:defRPr sz="1500"/>
            </a:lvl4pPr>
            <a:lvl5pPr marL="1371532" indent="0">
              <a:buNone/>
              <a:defRPr sz="1500"/>
            </a:lvl5pPr>
            <a:lvl6pPr marL="1714415" indent="0">
              <a:buNone/>
              <a:defRPr sz="1500"/>
            </a:lvl6pPr>
            <a:lvl7pPr marL="2057297" indent="0">
              <a:buNone/>
              <a:defRPr sz="1500"/>
            </a:lvl7pPr>
            <a:lvl8pPr marL="2400180" indent="0">
              <a:buNone/>
              <a:defRPr sz="1500"/>
            </a:lvl8pPr>
            <a:lvl9pPr marL="2743064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44216" y="4025505"/>
            <a:ext cx="41148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84" indent="0">
              <a:buNone/>
              <a:defRPr sz="900"/>
            </a:lvl2pPr>
            <a:lvl3pPr marL="685766" indent="0">
              <a:buNone/>
              <a:defRPr sz="800"/>
            </a:lvl3pPr>
            <a:lvl4pPr marL="1028649" indent="0">
              <a:buNone/>
              <a:defRPr sz="700"/>
            </a:lvl4pPr>
            <a:lvl5pPr marL="1371532" indent="0">
              <a:buNone/>
              <a:defRPr sz="700"/>
            </a:lvl5pPr>
            <a:lvl6pPr marL="1714415" indent="0">
              <a:buNone/>
              <a:defRPr sz="700"/>
            </a:lvl6pPr>
            <a:lvl7pPr marL="2057297" indent="0">
              <a:buNone/>
              <a:defRPr sz="700"/>
            </a:lvl7pPr>
            <a:lvl8pPr marL="2400180" indent="0">
              <a:buNone/>
              <a:defRPr sz="700"/>
            </a:lvl8pPr>
            <a:lvl9pPr marL="2743064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40834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205978"/>
            <a:ext cx="6172200" cy="857250"/>
          </a:xfrm>
          <a:prstGeom prst="rect">
            <a:avLst/>
          </a:prstGeom>
        </p:spPr>
        <p:txBody>
          <a:bodyPr vert="horz" lIns="68577" tIns="34289" rIns="68577" bIns="34289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1200151"/>
            <a:ext cx="6172200" cy="3394472"/>
          </a:xfrm>
          <a:prstGeom prst="rect">
            <a:avLst/>
          </a:prstGeom>
        </p:spPr>
        <p:txBody>
          <a:bodyPr vert="horz" lIns="68577" tIns="34289" rIns="68577" bIns="34289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42900" y="4767264"/>
            <a:ext cx="16002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BF0878-195C-4C10-AD5C-3E1B08BEBFB2}" type="datetimeFigureOut">
              <a:rPr lang="ru-RU" smtClean="0"/>
              <a:pPr/>
              <a:t>30.0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343150" y="4767264"/>
            <a:ext cx="21717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914900" y="4767264"/>
            <a:ext cx="16002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80450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685766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2" indent="-257162" algn="l" defTabSz="68576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85" indent="-214303" algn="l" defTabSz="685766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38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42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0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6.xml"/><Relationship Id="rId10" Type="http://schemas.openxmlformats.org/officeDocument/2006/relationships/image" Target="../media/image3.png"/><Relationship Id="rId4" Type="http://schemas.openxmlformats.org/officeDocument/2006/relationships/tags" Target="../tags/tag15.xml"/><Relationship Id="rId9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0.xml"/><Relationship Id="rId10" Type="http://schemas.openxmlformats.org/officeDocument/2006/relationships/image" Target="../media/image4.png"/><Relationship Id="rId4" Type="http://schemas.openxmlformats.org/officeDocument/2006/relationships/tags" Target="../tags/tag19.xml"/><Relationship Id="rId9" Type="http://schemas.openxmlformats.org/officeDocument/2006/relationships/image" Target="../media/image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2.xml"/><Relationship Id="rId7" Type="http://schemas.openxmlformats.org/officeDocument/2006/relationships/notesSlide" Target="../notesSlides/notesSlide5.xml"/><Relationship Id="rId12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6.png"/><Relationship Id="rId5" Type="http://schemas.openxmlformats.org/officeDocument/2006/relationships/tags" Target="../tags/tag24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image" Target="../media/image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6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png"/><Relationship Id="rId5" Type="http://schemas.openxmlformats.org/officeDocument/2006/relationships/tags" Target="../tags/tag28.xml"/><Relationship Id="rId10" Type="http://schemas.openxmlformats.org/officeDocument/2006/relationships/image" Target="../media/image8.png"/><Relationship Id="rId4" Type="http://schemas.openxmlformats.org/officeDocument/2006/relationships/tags" Target="../tags/tag27.xml"/><Relationship Id="rId9" Type="http://schemas.openxmlformats.org/officeDocument/2006/relationships/image" Target="../media/image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0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image" Target="../media/image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4.xml"/><Relationship Id="rId7" Type="http://schemas.openxmlformats.org/officeDocument/2006/relationships/notesSlide" Target="../notesSlides/notesSlide8.xml"/><Relationship Id="rId12" Type="http://schemas.openxmlformats.org/officeDocument/2006/relationships/image" Target="../media/image12.png"/><Relationship Id="rId2" Type="http://schemas.openxmlformats.org/officeDocument/2006/relationships/tags" Target="../tags/tag33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1.png"/><Relationship Id="rId5" Type="http://schemas.openxmlformats.org/officeDocument/2006/relationships/tags" Target="../tags/tag36.xml"/><Relationship Id="rId10" Type="http://schemas.openxmlformats.org/officeDocument/2006/relationships/image" Target="../media/image10.png"/><Relationship Id="rId4" Type="http://schemas.openxmlformats.org/officeDocument/2006/relationships/tags" Target="../tags/tag35.xml"/><Relationship Id="rId9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642940"/>
          <a:ext cx="119063" cy="89297"/>
        </p:xfrm>
        <a:graphic>
          <a:graphicData uri="http://schemas.openxmlformats.org/presentationml/2006/ole">
            <p:oleObj spid="_x0000_s1224" name="think-cell Slide" r:id="rId6" imgW="360" imgH="360" progId="">
              <p:embed/>
            </p:oleObj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2" y="642940"/>
            <a:ext cx="119063" cy="8929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>
              <a:latin typeface="Calibri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906" y="618459"/>
            <a:ext cx="6858000" cy="957952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ru-RU" sz="1100" dirty="0"/>
              <a:t>Федеральное государственное автономное образовательное учреждение высшего профессионального образования</a:t>
            </a:r>
          </a:p>
          <a:p>
            <a:pPr algn="ctr"/>
            <a:r>
              <a:rPr lang="ru-RU" sz="1100" dirty="0"/>
              <a:t> НАЦИОНАЛЬНЫЙ ИССЛЕДОВАТЕЛЬСКИЙ ЯДЕРНЫЙ УНИВЕРСИТЕТ «МИФИ»</a:t>
            </a:r>
          </a:p>
          <a:p>
            <a:pPr algn="ctr"/>
            <a:r>
              <a:rPr lang="ru-RU" sz="1100" dirty="0"/>
              <a:t> Институт нанотехнологий в электронике, </a:t>
            </a:r>
            <a:r>
              <a:rPr lang="ru-RU" sz="1100" dirty="0" err="1"/>
              <a:t>спинтронике</a:t>
            </a:r>
            <a:r>
              <a:rPr lang="ru-RU" sz="1100" dirty="0"/>
              <a:t> и фотонике</a:t>
            </a:r>
          </a:p>
          <a:p>
            <a:pPr algn="ctr"/>
            <a:r>
              <a:rPr lang="ru-RU" sz="1100" dirty="0"/>
              <a:t>Кафедра электроники</a:t>
            </a:r>
          </a:p>
        </p:txBody>
      </p:sp>
      <p:pic>
        <p:nvPicPr>
          <p:cNvPr id="10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82114" y="63138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11600" y="1909403"/>
            <a:ext cx="5859819" cy="646331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algn="ctr"/>
            <a:r>
              <a:rPr lang="ru-RU" b="1" dirty="0" smtClean="0"/>
              <a:t>Отбраковка микросхем по результатам анализа динамического тока потребления</a:t>
            </a:r>
            <a:endParaRPr lang="ru-RU" b="1" dirty="0"/>
          </a:p>
        </p:txBody>
      </p:sp>
      <p:sp>
        <p:nvSpPr>
          <p:cNvPr id="15" name="Подзаголовок 2"/>
          <p:cNvSpPr txBox="1">
            <a:spLocks/>
          </p:cNvSpPr>
          <p:nvPr/>
        </p:nvSpPr>
        <p:spPr>
          <a:xfrm>
            <a:off x="1628800" y="3316124"/>
            <a:ext cx="4953000" cy="650783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>
            <a:lvl1pPr marL="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b="1" dirty="0">
                <a:solidFill>
                  <a:schemeClr val="tx1"/>
                </a:solidFill>
              </a:rPr>
              <a:t>Студент:</a:t>
            </a:r>
            <a:r>
              <a:rPr lang="ru-RU" sz="1400" i="1" dirty="0">
                <a:solidFill>
                  <a:schemeClr val="tx1"/>
                </a:solidFill>
              </a:rPr>
              <a:t>    </a:t>
            </a:r>
            <a:r>
              <a:rPr lang="en-US" sz="1400" i="1" dirty="0">
                <a:solidFill>
                  <a:schemeClr val="tx1"/>
                </a:solidFill>
              </a:rPr>
              <a:t> </a:t>
            </a:r>
            <a:r>
              <a:rPr lang="ru-RU" sz="1400" i="1" dirty="0">
                <a:solidFill>
                  <a:schemeClr val="tx1"/>
                </a:solidFill>
              </a:rPr>
              <a:t>                                      Демичев А.О.</a:t>
            </a:r>
          </a:p>
          <a:p>
            <a:pPr algn="r"/>
            <a:r>
              <a:rPr lang="ru-RU" sz="1400" b="1" dirty="0">
                <a:solidFill>
                  <a:schemeClr val="tx1"/>
                </a:solidFill>
              </a:rPr>
              <a:t>Руководитель:            </a:t>
            </a:r>
            <a:r>
              <a:rPr lang="ru-RU" sz="1400" i="1" dirty="0">
                <a:solidFill>
                  <a:schemeClr val="tx1"/>
                </a:solidFill>
              </a:rPr>
              <a:t>Кондратенко С.В., доцент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258870" y="4819076"/>
            <a:ext cx="2565285" cy="276999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ru-RU" sz="1200" b="1" dirty="0"/>
              <a:t>Москва 2018 г.</a:t>
            </a:r>
          </a:p>
        </p:txBody>
      </p:sp>
      <p:cxnSp>
        <p:nvCxnSpPr>
          <p:cNvPr id="19" name="Прямая соединительная линия 18"/>
          <p:cNvCxnSpPr/>
          <p:nvPr>
            <p:custDataLst>
              <p:tags r:id="rId4"/>
            </p:custDataLst>
          </p:nvPr>
        </p:nvCxnSpPr>
        <p:spPr>
          <a:xfrm>
            <a:off x="38001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p:oleObj spid="_x0000_s38061" name="think-cell Slide" r:id="rId8" imgW="360" imgH="360" progId="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оды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10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38879" y="801661"/>
            <a:ext cx="6304184" cy="3970314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работе рассмотрены наиболее вероятные дефекты и соответствующие им неисправности.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Данные неисправности смоделированы для часто применяемых микросхем с целью анализа влияния на работу схемы.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 проведенному анализу выделены основные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закономерности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еисправностей. При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этом стоит заметить, что дефекты, обнаруживаемые одним способом, могут быть не обнаружены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ругим.</a:t>
            </a:r>
          </a:p>
          <a:p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ложена методика отбраковки микросхем по наиболее востребованным критериям: анализ тока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логики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а также нестандартной логики.</a:t>
            </a:r>
          </a:p>
          <a:p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анный набор критериев позволяет определить не только наличие катастрофического отказа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но и дефектов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которые могут привести к такому исходу в будущем. Это имеет огромное значение для проектирования электроники космических аппаратов. Однако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е дает исчерпывающую картину возможных дефектов.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анная методика может быть дополнена и усложнена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41313" y="843558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154113" y="1756953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141313" y="2554849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3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141313" y="3435846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4</a:t>
            </a:r>
            <a:endParaRPr lang="ru-RU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2315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p:oleObj spid="_x0000_s31938" name="think-cell Slide" r:id="rId8" imgW="360" imgH="360" progId="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229966" y="1851670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bg1"/>
                </a:solidFill>
              </a:rPr>
              <a:pPr/>
              <a:t>11</a:t>
            </a:fld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998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p:oleObj spid="_x0000_s30920" name="think-cell Slide" r:id="rId8" imgW="360" imgH="360" progId="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 работы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2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68661" y="1049310"/>
            <a:ext cx="6489340" cy="3416320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r>
              <a:rPr lang="ru-RU" dirty="0" smtClean="0"/>
              <a:t>Анализ </a:t>
            </a:r>
            <a:r>
              <a:rPr lang="ru-RU" dirty="0"/>
              <a:t>характерных дефектов и неисправностей комбинационных </a:t>
            </a:r>
            <a:r>
              <a:rPr lang="ru-RU" dirty="0" smtClean="0"/>
              <a:t>ЦУ</a:t>
            </a:r>
            <a:r>
              <a:rPr lang="ru-RU" dirty="0"/>
              <a:t>.</a:t>
            </a:r>
          </a:p>
          <a:p>
            <a:endParaRPr lang="ru-RU" dirty="0" smtClean="0"/>
          </a:p>
          <a:p>
            <a:r>
              <a:rPr lang="ru-RU" dirty="0" smtClean="0"/>
              <a:t>Моделирование </a:t>
            </a:r>
            <a:r>
              <a:rPr lang="ru-RU" dirty="0"/>
              <a:t>комбинационных ЦУ с неисправностями, анализ их токов потребления в статике и </a:t>
            </a:r>
            <a:r>
              <a:rPr lang="ru-RU" dirty="0" smtClean="0"/>
              <a:t>динамике</a:t>
            </a:r>
            <a:r>
              <a:rPr lang="en-US" dirty="0" smtClean="0"/>
              <a:t>,</a:t>
            </a:r>
            <a:r>
              <a:rPr lang="ru-RU" dirty="0" smtClean="0"/>
              <a:t> а также построение тестов</a:t>
            </a:r>
            <a:r>
              <a:rPr lang="en-US" dirty="0" smtClean="0"/>
              <a:t>,</a:t>
            </a:r>
            <a:r>
              <a:rPr lang="ru-RU" dirty="0" smtClean="0"/>
              <a:t> </a:t>
            </a:r>
            <a:r>
              <a:rPr lang="ru-RU" dirty="0"/>
              <a:t>выявляющих наличие неисправностей в анализируемых </a:t>
            </a:r>
            <a:r>
              <a:rPr lang="ru-RU" dirty="0" smtClean="0"/>
              <a:t>ЦУ</a:t>
            </a:r>
            <a:r>
              <a:rPr lang="ru-RU" dirty="0"/>
              <a:t>.</a:t>
            </a:r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Формулирование </a:t>
            </a:r>
            <a:r>
              <a:rPr lang="ru-RU" dirty="0"/>
              <a:t>методики определения ЦУ с неисправностями по результатам анализа их тока потребления и </a:t>
            </a:r>
            <a:r>
              <a:rPr lang="ru-RU" dirty="0" smtClean="0"/>
              <a:t>применение </a:t>
            </a:r>
            <a:r>
              <a:rPr lang="ru-RU" dirty="0"/>
              <a:t>этой методики для различных комбинационных ЦУ.</a:t>
            </a: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116660" y="1110694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121443" y="1959654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121443" y="3322503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3</a:t>
            </a:r>
            <a:endParaRPr lang="ru-RU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p:oleObj spid="_x0000_s32963" name="think-cell Slide" r:id="rId8" imgW="360" imgH="360" progId="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дефектов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3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666867" y="695530"/>
            <a:ext cx="3528392" cy="369332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ru-RU" dirty="0" smtClean="0"/>
              <a:t>Частота возникновения дефектов: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25163743"/>
              </p:ext>
            </p:extLst>
          </p:nvPr>
        </p:nvGraphicFramePr>
        <p:xfrm>
          <a:off x="280112" y="1064861"/>
          <a:ext cx="6277071" cy="14280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24229"/>
                <a:gridCol w="1652842"/>
              </a:tblGrid>
              <a:tr h="23968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хнологический дефект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3968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мыкания между слоями металлизации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%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3968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ыв между слоями металлизации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%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3968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мыкания между слоями диффузии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%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3968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 установленные виды дефектов</a:t>
                      </a:r>
                      <a:endParaRPr lang="ru-RU" sz="11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%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2961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Катастрофические (очень большие по площади) дефекты</a:t>
                      </a:r>
                      <a:endParaRPr lang="ru-RU" sz="11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5%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052737" y="2520424"/>
            <a:ext cx="5040560" cy="369332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ru-RU" dirty="0" smtClean="0"/>
              <a:t>Представление дефектов в виде неисправностей:</a:t>
            </a:r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56742017"/>
              </p:ext>
            </p:extLst>
          </p:nvPr>
        </p:nvGraphicFramePr>
        <p:xfrm>
          <a:off x="276098" y="3003798"/>
          <a:ext cx="6277071" cy="97886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2902"/>
                <a:gridCol w="3124169"/>
              </a:tblGrid>
              <a:tr h="23968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ид неисправности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писание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4974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3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ON (stuck-on)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стойчивые замыкания транзисторов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4974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3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OP (stuck-open)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стойчивые обрывы транзисторов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3968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3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A (stuck-at)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константные неисправности;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525246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p:oleObj spid="_x0000_s33987" name="think-cell Slide" r:id="rId8" imgW="360" imgH="360" progId="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/>
              <a:t>Модели неисправностей и их описание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4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41578135"/>
              </p:ext>
            </p:extLst>
          </p:nvPr>
        </p:nvGraphicFramePr>
        <p:xfrm>
          <a:off x="188640" y="771550"/>
          <a:ext cx="6394926" cy="188694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75972"/>
                <a:gridCol w="4118954"/>
              </a:tblGrid>
              <a:tr h="47173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диночные константные </a:t>
                      </a:r>
                      <a:r>
                        <a:rPr lang="ru-RU" sz="1300" b="1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исправности</a:t>
                      </a:r>
                      <a:endParaRPr lang="ru-RU" sz="1300" b="1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9653" marR="4965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дна линия схемы принимает устойчивое значение либо 1,  либо 0</a:t>
                      </a:r>
                      <a:endParaRPr lang="ru-RU" sz="1300" b="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9653" marR="49653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7173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ножественные константные неисправности</a:t>
                      </a:r>
                      <a:endParaRPr lang="ru-RU" sz="13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9653" marR="4965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ве или </a:t>
                      </a:r>
                      <a:r>
                        <a:rPr lang="ru-RU" sz="130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олее </a:t>
                      </a:r>
                      <a:r>
                        <a:rPr lang="ru-RU" sz="130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инии </a:t>
                      </a: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хемы имеют устойчивые значения сигналов</a:t>
                      </a:r>
                      <a:endParaRPr lang="ru-RU" sz="13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9653" marR="49653" marT="0" marB="0"/>
                </a:tc>
              </a:tr>
              <a:tr h="47173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тойчивое замыкание транзистора, </a:t>
                      </a:r>
                      <a:r>
                        <a:rPr lang="en-US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ON</a:t>
                      </a:r>
                      <a:endParaRPr lang="ru-RU" sz="13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9653" marR="4965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ранзистор</a:t>
                      </a:r>
                      <a:r>
                        <a:rPr lang="ru-RU" sz="130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3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ходится </a:t>
                      </a: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стоянно в замкнутом состоянии (проводящем)</a:t>
                      </a:r>
                      <a:endParaRPr lang="ru-RU" sz="13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9653" marR="49653" marT="0" marB="0"/>
                </a:tc>
              </a:tr>
              <a:tr h="47173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тойчивый обрыв транзистора</a:t>
                      </a:r>
                      <a:r>
                        <a:rPr lang="en-US" sz="13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30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3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OP</a:t>
                      </a:r>
                      <a:endParaRPr lang="ru-RU" sz="13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9653" marR="4965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ранзистор </a:t>
                      </a: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ходится постоянно в разомкнутом состоянии (не проводящем). </a:t>
                      </a:r>
                      <a:endParaRPr lang="ru-RU" sz="13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9653" marR="49653" marT="0" marB="0"/>
                </a:tc>
              </a:tr>
            </a:tbl>
          </a:graphicData>
        </a:graphic>
      </p:graphicFrame>
      <p:pic>
        <p:nvPicPr>
          <p:cNvPr id="33866" name="Picture 74" descr="C:\Users\Саня\Desktop\4445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55627" y="2859782"/>
            <a:ext cx="2038990" cy="16885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9" name="TextBox 8"/>
          <p:cNvSpPr txBox="1"/>
          <p:nvPr/>
        </p:nvSpPr>
        <p:spPr>
          <a:xfrm>
            <a:off x="119064" y="2859783"/>
            <a:ext cx="4339326" cy="369332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ример моделирования неисправностей: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88640" y="3365768"/>
            <a:ext cx="3743974" cy="830997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) Константная неисправность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stuck-at-1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) Константная неисправность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stuck-at-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xmlns="" val="1281474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p:oleObj spid="_x0000_s35010" name="think-cell Slide" r:id="rId8" imgW="360" imgH="360" progId="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ирование </a:t>
            </a:r>
            <a:r>
              <a:rPr lang="ru-R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справности </a:t>
            </a:r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элементе 3И-НЕ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5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810463" y="1923678"/>
            <a:ext cx="2961286" cy="1492712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Ток потребления исправной схемы: </a:t>
            </a:r>
            <a:endParaRPr lang="en-US" sz="13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300" dirty="0" smtClean="0">
                <a:latin typeface="Times New Roman" pitchFamily="18" charset="0"/>
                <a:cs typeface="Times New Roman" pitchFamily="18" charset="0"/>
              </a:rPr>
              <a:t>&lt;I&gt; =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3</a:t>
            </a:r>
            <a:r>
              <a:rPr lang="en-US" sz="1300" dirty="0" smtClean="0">
                <a:latin typeface="Times New Roman" pitchFamily="18" charset="0"/>
                <a:cs typeface="Times New Roman" pitchFamily="18" charset="0"/>
              </a:rPr>
              <a:t>,13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кА</a:t>
            </a:r>
          </a:p>
          <a:p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Ток потребления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хемы с неисправностью:</a:t>
            </a:r>
            <a:endParaRPr lang="en-US" sz="13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1300" dirty="0" smtClean="0">
                <a:latin typeface="Times New Roman" pitchFamily="18" charset="0"/>
                <a:cs typeface="Times New Roman" pitchFamily="18" charset="0"/>
              </a:rPr>
              <a:t>&lt;I&gt; =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217</a:t>
            </a:r>
            <a:r>
              <a:rPr lang="en-US" sz="1300" dirty="0" smtClean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60 мкА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4704" y="4897444"/>
            <a:ext cx="48245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*здесь и далее параметры транзисторов  убраны с целью не загромождать рисунок</a:t>
            </a:r>
            <a:endParaRPr lang="ru-RU" sz="1000" dirty="0"/>
          </a:p>
        </p:txBody>
      </p:sp>
      <p:pic>
        <p:nvPicPr>
          <p:cNvPr id="34900" name="Picture 84" descr="C:\Users\Саня\Desktop\3ине с нагрузкой схема5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6876" y="987574"/>
            <a:ext cx="3543587" cy="352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869987" y="913388"/>
            <a:ext cx="1760931" cy="2923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*Технология 0</a:t>
            </a:r>
            <a:r>
              <a:rPr lang="en-US" sz="1300" dirty="0" smtClean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5 мкм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10463" y="1491630"/>
            <a:ext cx="246863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Метод </a:t>
            </a:r>
            <a:r>
              <a:rPr lang="en-US" sz="1300" b="1" dirty="0" smtClean="0">
                <a:latin typeface="Times New Roman" pitchFamily="18" charset="0"/>
                <a:cs typeface="Times New Roman" pitchFamily="18" charset="0"/>
              </a:rPr>
              <a:t>IDDQ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45186" y="3270498"/>
            <a:ext cx="1130438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тклонение:</a:t>
            </a:r>
          </a:p>
          <a:p>
            <a:r>
              <a:rPr lang="el-GR" sz="1300" dirty="0" smtClean="0">
                <a:latin typeface="Times New Roman" pitchFamily="18" charset="0"/>
                <a:cs typeface="Times New Roman" pitchFamily="18" charset="0"/>
              </a:rPr>
              <a:t>β</a:t>
            </a:r>
            <a:r>
              <a:rPr lang="en-US" sz="1300" dirty="0" smtClean="0">
                <a:latin typeface="Times New Roman" pitchFamily="18" charset="0"/>
                <a:cs typeface="Times New Roman" pitchFamily="18" charset="0"/>
              </a:rPr>
              <a:t>&gt;&gt;10%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4174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p:oleObj spid="_x0000_s36040" name="think-cell Slide" r:id="rId8" imgW="360" imgH="360" progId="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ирование </a:t>
            </a:r>
            <a:r>
              <a:rPr lang="ru-R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справностей </a:t>
            </a:r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элементе </a:t>
            </a:r>
            <a:r>
              <a:rPr lang="ru-R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И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6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939" name="Picture 99" descr="C:\Users\Саня\Desktop\j,hsd n5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0113" y="874725"/>
            <a:ext cx="2817480" cy="1808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39512" y="2698768"/>
            <a:ext cx="19656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i="1" dirty="0" smtClean="0"/>
              <a:t>Обрыв по затвору транзистора Т5</a:t>
            </a:r>
            <a:endParaRPr lang="ru-RU" sz="900" i="1" dirty="0"/>
          </a:p>
        </p:txBody>
      </p:sp>
      <p:pic>
        <p:nvPicPr>
          <p:cNvPr id="35948" name="Picture 108" descr="C:\Users\Саня\Desktop\ток лог д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70670" y="2643758"/>
            <a:ext cx="3600400" cy="165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949" name="Picture 109" descr="C:\Users\Саня\Desktop\ток лог бд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51886" y="858280"/>
            <a:ext cx="3619184" cy="142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319104" y="2314123"/>
            <a:ext cx="31822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900" i="1" dirty="0" smtClean="0">
                <a:latin typeface="Times New Roman" pitchFamily="18" charset="0"/>
                <a:cs typeface="Times New Roman" pitchFamily="18" charset="0"/>
              </a:rPr>
              <a:t>Осциллограммы тока потребления и выходного напряжения</a:t>
            </a:r>
          </a:p>
          <a:p>
            <a:pPr algn="ctr"/>
            <a:r>
              <a:rPr lang="ru-RU" sz="900" i="1" dirty="0" smtClean="0">
                <a:latin typeface="Times New Roman" pitchFamily="18" charset="0"/>
                <a:cs typeface="Times New Roman" pitchFamily="18" charset="0"/>
              </a:rPr>
              <a:t> исправной схемы</a:t>
            </a:r>
            <a:endParaRPr lang="ru-RU" sz="9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27119" y="4299942"/>
            <a:ext cx="3174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900" i="1" dirty="0">
                <a:latin typeface="Times New Roman" pitchFamily="18" charset="0"/>
                <a:cs typeface="Times New Roman" pitchFamily="18" charset="0"/>
              </a:rPr>
              <a:t>Осциллограммы тока потребления и выходного напряжения</a:t>
            </a:r>
          </a:p>
          <a:p>
            <a:pPr algn="ctr"/>
            <a:r>
              <a:rPr lang="ru-RU" sz="900" i="1" dirty="0">
                <a:latin typeface="Times New Roman" pitchFamily="18" charset="0"/>
                <a:cs typeface="Times New Roman" pitchFamily="18" charset="0"/>
              </a:rPr>
              <a:t> при </a:t>
            </a:r>
            <a:r>
              <a:rPr lang="ru-RU" sz="900" i="1" dirty="0" smtClean="0">
                <a:latin typeface="Times New Roman" pitchFamily="18" charset="0"/>
                <a:cs typeface="Times New Roman" pitchFamily="18" charset="0"/>
              </a:rPr>
              <a:t>моделировании неисправности</a:t>
            </a:r>
            <a:endParaRPr lang="ru-RU" sz="9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39512" y="2980069"/>
            <a:ext cx="3429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Ток потребления исправной схемы: </a:t>
            </a:r>
            <a:endParaRPr lang="en-US" sz="12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&lt;I&gt; 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= </a:t>
            </a:r>
            <a:r>
              <a:rPr lang="ru-RU" sz="1200" dirty="0" smtClean="0"/>
              <a:t>1073,4 н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39512" y="3483610"/>
            <a:ext cx="3429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Ток потребления схемы 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неисправностью:</a:t>
            </a:r>
            <a:endParaRPr lang="en-US" sz="12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&lt;I&gt; 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=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/>
              <a:t>653,7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н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39512" y="4130529"/>
            <a:ext cx="10182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клонение:</a:t>
            </a:r>
          </a:p>
          <a:p>
            <a:r>
              <a:rPr lang="el-GR" sz="1200" dirty="0" smtClean="0">
                <a:latin typeface="Times New Roman" pitchFamily="18" charset="0"/>
                <a:cs typeface="Times New Roman" pitchFamily="18" charset="0"/>
              </a:rPr>
              <a:t>β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&gt;&gt;1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0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%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22598" y="4855476"/>
            <a:ext cx="56239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*моделирование остальных неисправностей представлено в пояснительной записке</a:t>
            </a:r>
            <a:r>
              <a:rPr lang="en-US" sz="1000" dirty="0" smtClean="0"/>
              <a:t>,</a:t>
            </a:r>
            <a:r>
              <a:rPr lang="ru-RU" sz="1000" dirty="0" smtClean="0"/>
              <a:t> §2.2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xmlns="" val="4186504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p:oleObj spid="_x0000_s37050" name="think-cell Slide" r:id="rId8" imgW="360" imgH="360" progId="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59262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Результаты моделирования неисправностей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7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80965032"/>
              </p:ext>
            </p:extLst>
          </p:nvPr>
        </p:nvGraphicFramePr>
        <p:xfrm>
          <a:off x="157098" y="786258"/>
          <a:ext cx="6526107" cy="14991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3693"/>
                <a:gridCol w="783855"/>
                <a:gridCol w="597859"/>
                <a:gridCol w="258494"/>
                <a:gridCol w="1535084"/>
                <a:gridCol w="251732"/>
                <a:gridCol w="1617367"/>
                <a:gridCol w="258023"/>
              </a:tblGrid>
              <a:tr h="1509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исправность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lt;I&gt;, </a:t>
                      </a:r>
                      <a:r>
                        <a:rPr lang="en-US" sz="900" b="1" u="none" strike="noStrike" dirty="0" err="1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A</a:t>
                      </a:r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 (</a:t>
                      </a:r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№1)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err="1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гр</a:t>
                      </a:r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%</a:t>
                      </a:r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огика, Т№1. in1, in2-прямоуг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огика, Т№2. </a:t>
                      </a:r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n1-sin, in2-</a:t>
                      </a:r>
                      <a:r>
                        <a:rPr lang="ru-RU" sz="900" b="1" u="none" strike="noStrike" dirty="0" err="1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ямоуг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44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ыв Т1 по затвору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6,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,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рн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верн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</a:tr>
              <a:tr h="2538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ыв Т1 по истоку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71,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рн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верн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907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ыв Т1 по стоку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43,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4,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рн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верн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</a:tr>
              <a:tr h="1529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ыв Т2 по затвору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4,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,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верн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рн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968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ыв Т2 по истоку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7,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верн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рн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/>
                </a:tc>
              </a:tr>
              <a:tr h="2076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ыв Т2 по стоку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0,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верн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рн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524" marR="5524" marT="552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835750" y="4299942"/>
            <a:ext cx="38746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i="1" dirty="0" smtClean="0">
                <a:latin typeface="Times New Roman" pitchFamily="18" charset="0"/>
                <a:cs typeface="Times New Roman" pitchFamily="18" charset="0"/>
              </a:rPr>
              <a:t>Логика на выходе №2 дешифратора 2в4 при моделировании неисправности «замыкание»</a:t>
            </a:r>
            <a:endParaRPr lang="ru-RU" sz="1000" i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6983" name="Picture 119" descr="C:\Users\Саня\Desktop\деш аут 2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68777" y="3491973"/>
            <a:ext cx="3974286" cy="809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985" name="Picture 121" descr="C:\Users\Саня\Desktop\деш2222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66491" y="2427734"/>
            <a:ext cx="3974286" cy="818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2885795" y="3245752"/>
            <a:ext cx="38746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i="1" dirty="0" smtClean="0">
                <a:latin typeface="Times New Roman" pitchFamily="18" charset="0"/>
                <a:cs typeface="Times New Roman" pitchFamily="18" charset="0"/>
              </a:rPr>
              <a:t>Логика на выходе №2 дешифратора 2в4 исправной схемы</a:t>
            </a:r>
            <a:endParaRPr lang="ru-RU" sz="10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39512" y="2587316"/>
            <a:ext cx="3429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Ток потребления исправной 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хемы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: </a:t>
            </a:r>
            <a:endParaRPr lang="en-US" sz="12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&lt;I&gt; 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= </a:t>
            </a:r>
            <a:r>
              <a:rPr lang="ru-RU" sz="1200" dirty="0"/>
              <a:t>14,4</a:t>
            </a:r>
            <a:r>
              <a:rPr lang="ru-RU" sz="1200" dirty="0" smtClean="0"/>
              <a:t> мк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39512" y="3362668"/>
            <a:ext cx="3429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Ток потребления схемы 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неисправностью:</a:t>
            </a:r>
            <a:endParaRPr lang="en-US" sz="12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&lt;I&gt; 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=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200" dirty="0" smtClean="0"/>
              <a:t>11,9 </a:t>
            </a:r>
            <a:r>
              <a:rPr lang="ru-RU" sz="1200" dirty="0" smtClean="0"/>
              <a:t>мк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39512" y="4069109"/>
            <a:ext cx="10182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клонение:</a:t>
            </a:r>
          </a:p>
          <a:p>
            <a:r>
              <a:rPr lang="el-GR" sz="1200" dirty="0" smtClean="0">
                <a:latin typeface="Times New Roman" pitchFamily="18" charset="0"/>
                <a:cs typeface="Times New Roman" pitchFamily="18" charset="0"/>
              </a:rPr>
              <a:t>β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=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8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%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30980" y="4801586"/>
            <a:ext cx="53788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*полная таблица результатов представлена в пояснительной записке</a:t>
            </a:r>
            <a:r>
              <a:rPr lang="en-US" sz="1000" dirty="0" smtClean="0"/>
              <a:t>,</a:t>
            </a:r>
            <a:r>
              <a:rPr lang="ru-RU" sz="1000" dirty="0" smtClean="0"/>
              <a:t> стр. 36-39</a:t>
            </a:r>
            <a:endParaRPr lang="ru-RU" sz="1000" dirty="0"/>
          </a:p>
        </p:txBody>
      </p:sp>
      <p:sp>
        <p:nvSpPr>
          <p:cNvPr id="25" name="TextBox 24"/>
          <p:cNvSpPr txBox="1"/>
          <p:nvPr/>
        </p:nvSpPr>
        <p:spPr>
          <a:xfrm>
            <a:off x="530980" y="4947044"/>
            <a:ext cx="59223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*подробный анализ неисправностей дешифратора 2в4 представлен в пояснительной записке</a:t>
            </a:r>
            <a:r>
              <a:rPr lang="en-US" sz="1000" dirty="0" smtClean="0"/>
              <a:t>,</a:t>
            </a:r>
            <a:r>
              <a:rPr lang="ru-RU" sz="1000" dirty="0" smtClean="0"/>
              <a:t> §2.3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xmlns="" val="993284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p:oleObj spid="_x0000_s41120" name="think-cell Slide" r:id="rId8" imgW="360" imgH="360" progId="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46843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ика отбраковки «Логический анализ»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8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Скругленный прямоугольник 4"/>
          <p:cNvSpPr/>
          <p:nvPr/>
        </p:nvSpPr>
        <p:spPr>
          <a:xfrm>
            <a:off x="156650" y="749016"/>
            <a:ext cx="1588594" cy="216024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cs typeface="Times New Roman" pitchFamily="18" charset="0"/>
              </a:rPr>
              <a:t>Тест №1. Анализ по току</a:t>
            </a:r>
            <a:endParaRPr lang="ru-RU" sz="1000" b="1" dirty="0"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03578" y="1276260"/>
            <a:ext cx="1641666" cy="239537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cs typeface="Times New Roman" pitchFamily="18" charset="0"/>
              </a:rPr>
              <a:t>Дефект обнаружен</a:t>
            </a:r>
            <a:endParaRPr lang="ru-RU" sz="1000" b="1" dirty="0">
              <a:cs typeface="Times New Roman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8658" y="1873214"/>
            <a:ext cx="1756165" cy="380332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cs typeface="Times New Roman" pitchFamily="18" charset="0"/>
              </a:rPr>
              <a:t>Тест №2. Задание прямоугольных импульсов</a:t>
            </a:r>
            <a:endParaRPr lang="ru-RU" sz="1000" b="1" dirty="0">
              <a:cs typeface="Times New Roman" pitchFamily="18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157260" y="1302721"/>
            <a:ext cx="1129971" cy="195927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cs typeface="Times New Roman" pitchFamily="18" charset="0"/>
              </a:rPr>
              <a:t>Отбраковка</a:t>
            </a:r>
            <a:endParaRPr lang="ru-RU" sz="1000" b="1" dirty="0">
              <a:cs typeface="Times New Roman" pitchFamily="18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2060851" y="1929510"/>
            <a:ext cx="1512168" cy="324036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cs typeface="Times New Roman" pitchFamily="18" charset="0"/>
              </a:rPr>
              <a:t>Оцифровка</a:t>
            </a:r>
            <a:r>
              <a:rPr lang="en-US" sz="1000" b="1" dirty="0" smtClean="0">
                <a:cs typeface="Times New Roman" pitchFamily="18" charset="0"/>
              </a:rPr>
              <a:t>,</a:t>
            </a:r>
            <a:r>
              <a:rPr lang="ru-RU" sz="1000" b="1" dirty="0" smtClean="0">
                <a:cs typeface="Times New Roman" pitchFamily="18" charset="0"/>
              </a:rPr>
              <a:t> сравнение</a:t>
            </a:r>
            <a:endParaRPr lang="ru-RU" sz="1000" b="1" dirty="0">
              <a:cs typeface="Times New Roman" pitchFamily="18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4072321" y="3894504"/>
            <a:ext cx="1395640" cy="216025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latin typeface="Times New Roman" pitchFamily="18" charset="0"/>
                <a:cs typeface="Times New Roman" pitchFamily="18" charset="0"/>
              </a:rPr>
              <a:t>Дефект обнаружен</a:t>
            </a:r>
            <a:endParaRPr lang="ru-RU" sz="1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5814018" y="3882778"/>
            <a:ext cx="928748" cy="216024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latin typeface="Times New Roman" pitchFamily="18" charset="0"/>
                <a:cs typeface="Times New Roman" pitchFamily="18" charset="0"/>
              </a:rPr>
              <a:t>Отбраковка</a:t>
            </a:r>
            <a:endParaRPr lang="ru-RU" sz="1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923985" y="3243723"/>
            <a:ext cx="1785896" cy="324036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cs typeface="Times New Roman" pitchFamily="18" charset="0"/>
              </a:rPr>
              <a:t>Тест №3. Задание синусоидальных сигналов</a:t>
            </a:r>
            <a:endParaRPr lang="ru-RU" sz="1000" b="1" dirty="0">
              <a:cs typeface="Times New Roman" pitchFamily="18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3929665" y="3270158"/>
            <a:ext cx="1581664" cy="317879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cs typeface="Times New Roman" pitchFamily="18" charset="0"/>
              </a:rPr>
              <a:t>Оцифровка</a:t>
            </a:r>
            <a:r>
              <a:rPr lang="en-US" sz="1000" b="1" dirty="0" smtClean="0">
                <a:cs typeface="Times New Roman" pitchFamily="18" charset="0"/>
              </a:rPr>
              <a:t>,</a:t>
            </a:r>
            <a:r>
              <a:rPr lang="ru-RU" sz="1000" b="1" dirty="0" smtClean="0">
                <a:cs typeface="Times New Roman" pitchFamily="18" charset="0"/>
              </a:rPr>
              <a:t> сравнение</a:t>
            </a:r>
            <a:endParaRPr lang="ru-RU" sz="1000" b="1" dirty="0">
              <a:cs typeface="Times New Roman" pitchFamily="18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3930866" y="2610139"/>
            <a:ext cx="912407" cy="216024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cs typeface="Times New Roman" pitchFamily="18" charset="0"/>
              </a:rPr>
              <a:t>Отбраковка</a:t>
            </a:r>
            <a:endParaRPr lang="ru-RU" sz="1000" b="1" dirty="0">
              <a:cs typeface="Times New Roman" pitchFamily="18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156582" y="2558312"/>
            <a:ext cx="1320703" cy="293972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cs typeface="Times New Roman" pitchFamily="18" charset="0"/>
              </a:rPr>
              <a:t>Дефект обнаружен</a:t>
            </a:r>
            <a:endParaRPr lang="ru-RU" sz="1000" b="1" dirty="0">
              <a:cs typeface="Times New Roman" pitchFamily="18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4087480" y="4475119"/>
            <a:ext cx="1365322" cy="216024"/>
          </a:xfrm>
          <a:prstGeom prst="round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latin typeface="Times New Roman" pitchFamily="18" charset="0"/>
                <a:cs typeface="Times New Roman" pitchFamily="18" charset="0"/>
              </a:rPr>
              <a:t>Конец отбраковки</a:t>
            </a:r>
            <a:endParaRPr lang="ru-RU" sz="1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Стрелка вниз 38"/>
          <p:cNvSpPr/>
          <p:nvPr/>
        </p:nvSpPr>
        <p:spPr>
          <a:xfrm>
            <a:off x="877213" y="977141"/>
            <a:ext cx="200543" cy="299119"/>
          </a:xfrm>
          <a:prstGeom prst="downArrow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трелка вниз 44"/>
          <p:cNvSpPr/>
          <p:nvPr/>
        </p:nvSpPr>
        <p:spPr>
          <a:xfrm>
            <a:off x="4657517" y="3588037"/>
            <a:ext cx="200543" cy="285850"/>
          </a:xfrm>
          <a:prstGeom prst="downArrow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трелка вниз 47"/>
          <p:cNvSpPr/>
          <p:nvPr/>
        </p:nvSpPr>
        <p:spPr>
          <a:xfrm rot="16200000" flipH="1">
            <a:off x="1845760" y="1984977"/>
            <a:ext cx="222466" cy="207716"/>
          </a:xfrm>
          <a:prstGeom prst="downArrow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трелка вниз 51"/>
          <p:cNvSpPr/>
          <p:nvPr/>
        </p:nvSpPr>
        <p:spPr>
          <a:xfrm rot="16200000">
            <a:off x="3731041" y="3330747"/>
            <a:ext cx="200543" cy="196703"/>
          </a:xfrm>
          <a:prstGeom prst="downArrow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Стрелка вниз 54"/>
          <p:cNvSpPr/>
          <p:nvPr/>
        </p:nvSpPr>
        <p:spPr>
          <a:xfrm>
            <a:off x="603457" y="1521843"/>
            <a:ext cx="726565" cy="351370"/>
          </a:xfrm>
          <a:prstGeom prst="downArrow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 smtClean="0">
                <a:solidFill>
                  <a:schemeClr val="tx1"/>
                </a:solidFill>
                <a:cs typeface="Times New Roman" pitchFamily="18" charset="0"/>
              </a:rPr>
              <a:t>Нет</a:t>
            </a:r>
            <a:endParaRPr lang="ru-RU" sz="700" b="1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56" name="Стрелка вправо 55"/>
          <p:cNvSpPr/>
          <p:nvPr/>
        </p:nvSpPr>
        <p:spPr>
          <a:xfrm>
            <a:off x="3492702" y="2596993"/>
            <a:ext cx="434358" cy="242316"/>
          </a:xfrm>
          <a:prstGeom prst="rightArrow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dirty="0" smtClean="0">
                <a:solidFill>
                  <a:schemeClr val="tx1"/>
                </a:solidFill>
                <a:cs typeface="Times New Roman" pitchFamily="18" charset="0"/>
              </a:rPr>
              <a:t>Да</a:t>
            </a:r>
            <a:endParaRPr lang="ru-RU" sz="700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57" name="Стрелка вправо 56"/>
          <p:cNvSpPr/>
          <p:nvPr/>
        </p:nvSpPr>
        <p:spPr>
          <a:xfrm>
            <a:off x="1745244" y="1279527"/>
            <a:ext cx="412016" cy="242316"/>
          </a:xfrm>
          <a:prstGeom prst="rightArrow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dirty="0" smtClean="0">
                <a:solidFill>
                  <a:schemeClr val="tx1"/>
                </a:solidFill>
                <a:cs typeface="Times New Roman" pitchFamily="18" charset="0"/>
              </a:rPr>
              <a:t>Да</a:t>
            </a:r>
            <a:endParaRPr lang="ru-RU" sz="700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58" name="Стрелка вниз 57"/>
          <p:cNvSpPr/>
          <p:nvPr/>
        </p:nvSpPr>
        <p:spPr>
          <a:xfrm>
            <a:off x="2485811" y="2857021"/>
            <a:ext cx="655157" cy="386702"/>
          </a:xfrm>
          <a:prstGeom prst="downArrow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 smtClean="0">
                <a:solidFill>
                  <a:schemeClr val="tx1"/>
                </a:solidFill>
                <a:cs typeface="Times New Roman" pitchFamily="18" charset="0"/>
              </a:rPr>
              <a:t>Нет</a:t>
            </a:r>
            <a:endParaRPr lang="ru-RU" sz="700" b="1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59" name="Стрелка вниз 58"/>
          <p:cNvSpPr/>
          <p:nvPr/>
        </p:nvSpPr>
        <p:spPr>
          <a:xfrm>
            <a:off x="2716663" y="2259193"/>
            <a:ext cx="200543" cy="299119"/>
          </a:xfrm>
          <a:prstGeom prst="downArrow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трелка вправо 59"/>
          <p:cNvSpPr/>
          <p:nvPr/>
        </p:nvSpPr>
        <p:spPr>
          <a:xfrm>
            <a:off x="5467961" y="3881359"/>
            <a:ext cx="346057" cy="242316"/>
          </a:xfrm>
          <a:prstGeom prst="rightArrow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а</a:t>
            </a:r>
            <a:endParaRPr lang="ru-RU" sz="7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Стрелка вниз 61"/>
          <p:cNvSpPr/>
          <p:nvPr/>
        </p:nvSpPr>
        <p:spPr>
          <a:xfrm>
            <a:off x="4442562" y="4110529"/>
            <a:ext cx="655157" cy="364590"/>
          </a:xfrm>
          <a:prstGeom prst="downArrow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 smtClean="0">
                <a:solidFill>
                  <a:schemeClr val="tx1"/>
                </a:solidFill>
                <a:cs typeface="Times New Roman" pitchFamily="18" charset="0"/>
              </a:rPr>
              <a:t>Нет</a:t>
            </a:r>
            <a:endParaRPr lang="ru-RU" sz="700" b="1" dirty="0">
              <a:solidFill>
                <a:schemeClr val="tx1"/>
              </a:solidFill>
              <a:cs typeface="Times New Roman" pitchFamily="18" charset="0"/>
            </a:endParaRPr>
          </a:p>
        </p:txBody>
      </p:sp>
      <p:graphicFrame>
        <p:nvGraphicFramePr>
          <p:cNvPr id="63" name="Таблица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54603303"/>
              </p:ext>
            </p:extLst>
          </p:nvPr>
        </p:nvGraphicFramePr>
        <p:xfrm>
          <a:off x="3473380" y="690282"/>
          <a:ext cx="3110186" cy="8083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27826"/>
                <a:gridCol w="1654534"/>
                <a:gridCol w="727826"/>
              </a:tblGrid>
              <a:tr h="19399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Тест 1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нализ тока потреблени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браковк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0479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Тест 2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роверка логики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тбраковка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0958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Тест 3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Нестандартные входные сигналы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тбраковка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393703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p:oleObj spid="_x0000_s40099" name="think-cell Slide" r:id="rId8" imgW="360" imgH="360" progId="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ифровка и автоматизация 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9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077" name="Picture 141" descr="C:\Users\Саня\Desktop\2222222222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0113" y="791516"/>
            <a:ext cx="3068855" cy="1728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078" name="Picture 142" descr="C:\Users\Саня\Desktop\ссссссссс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31063" y="790350"/>
            <a:ext cx="3311999" cy="2429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549082" y="2519707"/>
            <a:ext cx="5309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Схема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013209" y="3198439"/>
            <a:ext cx="21477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Полученные осциллограммы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0082" name="Picture 146" descr="C:\Users\Саня\Desktop\ууууууу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6116" y="2765928"/>
            <a:ext cx="2351698" cy="1575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60454" y="4428682"/>
            <a:ext cx="26212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Внешний модуль для компьютера </a:t>
            </a:r>
            <a:r>
              <a:rPr lang="en-US" sz="1000" dirty="0" smtClean="0">
                <a:latin typeface="Times New Roman" pitchFamily="18" charset="0"/>
                <a:cs typeface="Times New Roman" pitchFamily="18" charset="0"/>
              </a:rPr>
              <a:t>USB</a:t>
            </a: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3000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37694" y="4140930"/>
            <a:ext cx="306526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Times New Roman" pitchFamily="18" charset="0"/>
                <a:cs typeface="Times New Roman" pitchFamily="18" charset="0"/>
              </a:rPr>
              <a:t>2) 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Контрольно-измерительная система на шине </a:t>
            </a:r>
            <a:r>
              <a:rPr lang="en-US" sz="1000" dirty="0" smtClean="0">
                <a:latin typeface="Times New Roman" pitchFamily="18" charset="0"/>
                <a:cs typeface="Times New Roman" pitchFamily="18" charset="0"/>
              </a:rPr>
              <a:t>PXI </a:t>
            </a:r>
          </a:p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фирмы </a:t>
            </a:r>
            <a:r>
              <a:rPr lang="en-US" sz="1000" dirty="0" smtClean="0">
                <a:latin typeface="Times New Roman" pitchFamily="18" charset="0"/>
                <a:cs typeface="Times New Roman" pitchFamily="18" charset="0"/>
              </a:rPr>
              <a:t>National Instruments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648916" y="3740820"/>
            <a:ext cx="30283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arenR"/>
            </a:pP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Модуль </a:t>
            </a: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USB3000 - универсальный скоростной </a:t>
            </a:r>
            <a:endParaRPr lang="en-US" sz="10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восьмиканальный АЦП.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59206" y="3466043"/>
            <a:ext cx="12907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Способ реализации: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040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2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4&quot;&gt;&lt;elem m_fUsage=&quot;6.63115073618317470000E+000&quot;&gt;&lt;m_ppcolschidx val=&quot;0&quot;/&gt;&lt;m_rgb r=&quot;1f&quot; g=&quot;49&quot; b=&quot;7d&quot;/&gt;&lt;/elem&gt;&lt;elem m_fUsage=&quot;1.18950528793464370000E+000&quot;&gt;&lt;m_ppcolschidx val=&quot;0&quot;/&gt;&lt;m_rgb r=&quot;70&quot; g=&quot;c0&quot; b=&quot;fc&quot;/&gt;&lt;/elem&gt;&lt;elem m_fUsage=&quot;1.03510666149801620000E+000&quot;&gt;&lt;m_ppcolschidx val=&quot;0&quot;/&gt;&lt;m_rgb r=&quot;f9&quot; g=&quot;72&quot; b=&quot;31&quot;/&gt;&lt;/elem&gt;&lt;elem m_fUsage=&quot;5.15153693757442020000E-001&quot;&gt;&lt;m_ppcolschidx val=&quot;0&quot;/&gt;&lt;m_rgb r=&quot;ce&quot; g=&quot;0&quot; b=&quot;5&quot;/&gt;&lt;/elem&gt;&lt;elem m_fUsage=&quot;4.81530965740009310000E-001&quot;&gt;&lt;m_ppcolschidx val=&quot;0&quot;/&gt;&lt;m_rgb r=&quot;5&quot; g=&quot;92&quot; b=&quot;fa&quot;/&gt;&lt;/elem&gt;&lt;elem m_fUsage=&quot;3.73050349590614350000E-002&quot;&gt;&lt;m_ppcolschidx val=&quot;0&quot;/&gt;&lt;m_rgb r=&quot;1&quot; g=&quot;3&quot; b=&quot;5a&quot;/&gt;&lt;/elem&gt;&lt;elem m_fUsage=&quot;1.85379850675709830000E-002&quot;&gt;&lt;m_ppcolschidx val=&quot;0&quot;/&gt;&lt;m_rgb r=&quot;53&quot; g=&quot;53&quot; b=&quot;ff&quot;/&gt;&lt;/elem&gt;&lt;elem m_fUsage=&quot;1.82480036314007500000E-002&quot;&gt;&lt;m_ppcolschidx val=&quot;0&quot;/&gt;&lt;m_rgb r=&quot;0&quot; g=&quot;0&quot; b=&quot;6a&quot;/&gt;&lt;/elem&gt;&lt;elem m_fUsage=&quot;1.64232032682606750000E-002&quot;&gt;&lt;m_ppcolschidx val=&quot;0&quot;/&gt;&lt;m_rgb r=&quot;0&quot; g=&quot;0&quot; b=&quot;5e&quot;/&gt;&lt;/elem&gt;&lt;elem m_fUsage=&quot;1.08038853028964810000E-002&quot;&gt;&lt;m_ppcolschidx val=&quot;0&quot;/&gt;&lt;m_rgb r=&quot;2&quot; g=&quot;5&quot; b=&quot;82&quot;/&gt;&lt;/elem&gt;&lt;elem m_fUsage=&quot;9.40593816330640400000E-003&quot;&gt;&lt;m_ppcolschidx val=&quot;0&quot;/&gt;&lt;m_rgb r=&quot;2&quot; g=&quot;5&quot; b=&quot;7d&quot;/&gt;&lt;/elem&gt;&lt;elem m_fUsage=&quot;7.06965049015105540000E-003&quot;&gt;&lt;m_ppcolschidx val=&quot;0&quot;/&gt;&lt;m_rgb r=&quot;97&quot; g=&quot;97&quot; b=&quot;ff&quot;/&gt;&lt;/elem&gt;&lt;elem m_fUsage=&quot;6.63507579760414400000E-003&quot;&gt;&lt;m_ppcolschidx val=&quot;0&quot;/&gt;&lt;m_rgb r=&quot;fd&quot; g=&quot;f&quot; b=&quot;f&quot;/&gt;&lt;/elem&gt;&lt;elem m_fUsage=&quot;5.15377520732011960000E-003&quot;&gt;&lt;m_ppcolschidx val=&quot;0&quot;/&gt;&lt;m_rgb r=&quot;fd&quot; g=&quot;2d&quot; b=&quot;2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314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ArGADsj0WMT7YsEIFJ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35</TotalTime>
  <Words>803</Words>
  <Application>Microsoft Office PowerPoint</Application>
  <PresentationFormat>Произвольный</PresentationFormat>
  <Paragraphs>215</Paragraphs>
  <Slides>11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Тема Offic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</vt:vector>
  </TitlesOfParts>
  <Company>RePack by SPecialiS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Саня</dc:creator>
  <cp:lastModifiedBy>С.В.Кондратенко</cp:lastModifiedBy>
  <cp:revision>481</cp:revision>
  <dcterms:created xsi:type="dcterms:W3CDTF">2015-02-27T15:56:23Z</dcterms:created>
  <dcterms:modified xsi:type="dcterms:W3CDTF">2018-01-30T07:36:37Z</dcterms:modified>
</cp:coreProperties>
</file>